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91" r:id="rId1"/>
  </p:sldMasterIdLst>
  <p:notesMasterIdLst>
    <p:notesMasterId r:id="rId11"/>
  </p:notesMasterIdLst>
  <p:handoutMasterIdLst>
    <p:handoutMasterId r:id="rId12"/>
  </p:handoutMasterIdLst>
  <p:sldIdLst>
    <p:sldId id="2146847048" r:id="rId2"/>
    <p:sldId id="2146847069" r:id="rId3"/>
    <p:sldId id="2146847078" r:id="rId4"/>
    <p:sldId id="2146846795" r:id="rId5"/>
    <p:sldId id="2146847062" r:id="rId6"/>
    <p:sldId id="2146847089" r:id="rId7"/>
    <p:sldId id="2146847091" r:id="rId8"/>
    <p:sldId id="2146847054" r:id="rId9"/>
    <p:sldId id="2146846791" r:id="rId10"/>
  </p:sldIdLst>
  <p:sldSz cx="9144000" cy="5143500" type="screen16x9"/>
  <p:notesSz cx="6858000" cy="9144000"/>
  <p:embeddedFontLst>
    <p:embeddedFont>
      <p:font typeface="IBM Plex Sans" panose="020B0503050203000203" pitchFamily="34" charset="0"/>
      <p:regular r:id="rId13"/>
      <p:bold r:id="rId14"/>
      <p:italic r:id="rId15"/>
      <p:boldItalic r:id="rId16"/>
    </p:embeddedFont>
    <p:embeddedFont>
      <p:font typeface="IBM Plex Sans Light" panose="020B0403050203000203" pitchFamily="34" charset="0"/>
      <p:regular r:id="rId17"/>
      <p:italic r:id="rId18"/>
    </p:embeddedFont>
  </p:embeddedFontLst>
  <p:defaultTextStyle>
    <a:defPPr>
      <a:defRPr lang="en-US"/>
    </a:defPPr>
    <a:lvl1pPr marL="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768"/>
    <p:restoredTop sz="96327"/>
  </p:normalViewPr>
  <p:slideViewPr>
    <p:cSldViewPr snapToGrid="0" snapToObjects="1">
      <p:cViewPr varScale="1">
        <p:scale>
          <a:sx n="159" d="100"/>
          <a:sy n="159" d="100"/>
        </p:scale>
        <p:origin x="1352" y="17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31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font" Target="fonts/font5.fntdata"/><Relationship Id="rId2" Type="http://schemas.openxmlformats.org/officeDocument/2006/relationships/slide" Target="slides/slide1.xml"/><Relationship Id="rId16" Type="http://schemas.openxmlformats.org/officeDocument/2006/relationships/font" Target="fonts/font4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font" Target="fonts/font3.fntdata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2.fntdata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736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174625" indent="-169863" algn="l" defTabSz="914400" rtl="0" eaLnBrk="1" latinLnBrk="0" hangingPunct="1">
      <a:spcBef>
        <a:spcPts val="600"/>
      </a:spcBef>
      <a:buFont typeface="IBM Plex Sans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347472" indent="-173736" algn="l" defTabSz="914400" rtl="0" eaLnBrk="1" latinLnBrk="0" hangingPunct="1">
      <a:spcBef>
        <a:spcPts val="600"/>
      </a:spcBef>
      <a:buFont typeface="IBM Plex Sans Light" panose="020B0604020202020204" pitchFamily="34" charset="0"/>
      <a:buChar char="•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630936" indent="-173736" algn="l" defTabSz="914400" rtl="0" eaLnBrk="1" latinLnBrk="0" hangingPunct="1">
      <a:spcBef>
        <a:spcPts val="600"/>
      </a:spcBef>
      <a:buFont typeface="IBM Plex Sans Light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174625" marR="0" indent="-169863" algn="l" defTabSz="914400" rtl="0" eaLnBrk="1" fontAlgn="base" latinLnBrk="0" hangingPunct="1">
      <a:lnSpc>
        <a:spcPct val="100000"/>
      </a:lnSpc>
      <a:spcBef>
        <a:spcPts val="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593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16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1169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504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74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90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605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154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76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42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30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752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7856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682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5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74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574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87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411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468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7231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4434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70163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8083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4572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600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5768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7739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569463"/>
          </a:xfrm>
          <a:noFill/>
        </p:spPr>
        <p:txBody>
          <a:bodyPr lIns="182880" tIns="164592" rIns="228600" bIns="22860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2286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3"/>
            <a:ext cx="2286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2286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4572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8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228600" y="2571750"/>
            <a:ext cx="86868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8155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425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273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879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2283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6855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4260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059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81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59626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11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11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11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11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27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62634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000">
                <a:solidFill>
                  <a:schemeClr val="tx1"/>
                </a:solidFill>
              </a:defRPr>
            </a:lvl3pPr>
            <a:lvl4pPr>
              <a:spcBef>
                <a:spcPts val="300"/>
              </a:spcBef>
              <a:defRPr sz="1000">
                <a:solidFill>
                  <a:schemeClr val="tx1"/>
                </a:solidFill>
              </a:defRPr>
            </a:lvl4pPr>
            <a:lvl5pPr>
              <a:spcBef>
                <a:spcPts val="3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467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7208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9024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917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600">
                <a:solidFill>
                  <a:schemeClr val="tx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821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89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1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8" y="2312885"/>
            <a:ext cx="1297604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014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93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21723904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08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847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87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87" y="3810"/>
            <a:ext cx="9128406" cy="513969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407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1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25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8006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8006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2" r:id="rId1"/>
    <p:sldLayoutId id="2147483926" r:id="rId2"/>
    <p:sldLayoutId id="2147483935" r:id="rId3"/>
    <p:sldLayoutId id="2147483936" r:id="rId4"/>
    <p:sldLayoutId id="2147483937" r:id="rId5"/>
    <p:sldLayoutId id="2147483925" r:id="rId6"/>
    <p:sldLayoutId id="2147483924" r:id="rId7"/>
    <p:sldLayoutId id="2147483938" r:id="rId8"/>
    <p:sldLayoutId id="2147483939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  <p:sldLayoutId id="2147483909" r:id="rId26"/>
    <p:sldLayoutId id="2147483910" r:id="rId27"/>
    <p:sldLayoutId id="2147483911" r:id="rId28"/>
    <p:sldLayoutId id="2147483912" r:id="rId29"/>
    <p:sldLayoutId id="2147483913" r:id="rId30"/>
    <p:sldLayoutId id="2147483914" r:id="rId31"/>
    <p:sldLayoutId id="2147483915" r:id="rId32"/>
    <p:sldLayoutId id="2147483916" r:id="rId33"/>
    <p:sldLayoutId id="2147483917" r:id="rId34"/>
    <p:sldLayoutId id="2147483918" r:id="rId35"/>
    <p:sldLayoutId id="2147483919" r:id="rId36"/>
    <p:sldLayoutId id="2147483920" r:id="rId37"/>
    <p:sldLayoutId id="2147483921" r:id="rId38"/>
    <p:sldLayoutId id="2147483922" r:id="rId39"/>
    <p:sldLayoutId id="2147483933" r:id="rId40"/>
    <p:sldLayoutId id="2147483934" r:id="rId41"/>
    <p:sldLayoutId id="2147483923" r:id="rId42"/>
    <p:sldLayoutId id="2147483941" r:id="rId4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5616" userDrawn="1">
          <p15:clr>
            <a:srgbClr val="F26B43"/>
          </p15:clr>
        </p15:guide>
        <p15:guide id="4" orient="horz" pos="2832" userDrawn="1">
          <p15:clr>
            <a:srgbClr val="F26B43"/>
          </p15:clr>
        </p15:guide>
        <p15:guide id="5" orient="horz" pos="3094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2736" userDrawn="1">
          <p15:clr>
            <a:srgbClr val="F26B43"/>
          </p15:clr>
        </p15:guide>
        <p15:guide id="8" pos="1440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pos="1296" userDrawn="1">
          <p15:clr>
            <a:srgbClr val="F26B43"/>
          </p15:clr>
        </p15:guide>
        <p15:guide id="11" pos="1584" userDrawn="1">
          <p15:clr>
            <a:srgbClr val="F26B43"/>
          </p15:clr>
        </p15:guide>
        <p15:guide id="12" pos="4320" userDrawn="1">
          <p15:clr>
            <a:srgbClr val="F26B43"/>
          </p15:clr>
        </p15:guide>
        <p15:guide id="13" pos="4176" userDrawn="1">
          <p15:clr>
            <a:srgbClr val="F26B43"/>
          </p15:clr>
        </p15:guide>
        <p15:guide id="14" pos="4464" userDrawn="1">
          <p15:clr>
            <a:srgbClr val="F26B43"/>
          </p15:clr>
        </p15:guide>
        <p15:guide id="15" orient="horz" pos="412" userDrawn="1">
          <p15:clr>
            <a:srgbClr val="F26B43"/>
          </p15:clr>
        </p15:guide>
        <p15:guide id="17" orient="horz" pos="812" userDrawn="1">
          <p15:clr>
            <a:srgbClr val="F26B43"/>
          </p15:clr>
        </p15:guide>
        <p15:guide id="18" orient="horz" pos="1620" userDrawn="1">
          <p15:clr>
            <a:srgbClr val="F26B43"/>
          </p15:clr>
        </p15:guide>
        <p15:guide id="19" orient="horz" pos="1216" userDrawn="1">
          <p15:clr>
            <a:srgbClr val="F26B43"/>
          </p15:clr>
        </p15:guide>
        <p15:guide id="20" orient="horz" pos="2022" userDrawn="1">
          <p15:clr>
            <a:srgbClr val="F26B43"/>
          </p15:clr>
        </p15:guide>
        <p15:guide id="21" orient="horz" pos="24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s://ibm.box.com/s/2j6wnm44i615krsobkh9c4p2s8ztsh8q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hyperlink" Target="https://techzone.ibm.com/collection/platinum-demos-extending-business-automation-with-RPA" TargetMode="Externa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15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14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14.jpg"/><Relationship Id="rId5" Type="http://schemas.openxmlformats.org/officeDocument/2006/relationships/tags" Target="../tags/tag22.xml"/><Relationship Id="rId10" Type="http://schemas.openxmlformats.org/officeDocument/2006/relationships/image" Target="../media/image13.jpg"/><Relationship Id="rId4" Type="http://schemas.openxmlformats.org/officeDocument/2006/relationships/tags" Target="../tags/tag21.xml"/><Relationship Id="rId9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slideLayout" Target="../slideLayouts/slideLayout25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image" Target="../media/image14.jpg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image" Target="../media/image13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hyperlink" Target="https://www.ibm.com/docs/en/rpa/20.12?topic=commands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ibm.com/docs/en/rpa/20.12?topic=using-robotic-process-automation" TargetMode="External"/><Relationship Id="rId5" Type="http://schemas.openxmlformats.org/officeDocument/2006/relationships/hyperlink" Target="https://www.ibm.com/docs/en/baw/20.x?topic=management-participating-in-processes" TargetMode="External"/><Relationship Id="rId4" Type="http://schemas.openxmlformats.org/officeDocument/2006/relationships/hyperlink" Target="https://www.ibm.com/docs/en/baw/20.x?topic=management-building-process-application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2957EB19-7404-0245-BE19-789038684254}"/>
              </a:ext>
            </a:extLst>
          </p:cNvPr>
          <p:cNvSpPr txBox="1">
            <a:spLocks/>
          </p:cNvSpPr>
          <p:nvPr/>
        </p:nvSpPr>
        <p:spPr>
          <a:xfrm>
            <a:off x="266700" y="253999"/>
            <a:ext cx="3905628" cy="11811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usiness Automation Demo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xtending business automation with RPA</a:t>
            </a: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1AD0B242-3213-8547-8C3F-3FF3BED0EB2C}"/>
              </a:ext>
            </a:extLst>
          </p:cNvPr>
          <p:cNvSpPr txBox="1">
            <a:spLocks/>
          </p:cNvSpPr>
          <p:nvPr/>
        </p:nvSpPr>
        <p:spPr>
          <a:xfrm>
            <a:off x="0" y="2272793"/>
            <a:ext cx="9144000" cy="1435608"/>
          </a:xfrm>
          <a:prstGeom prst="rect">
            <a:avLst/>
          </a:prstGeom>
        </p:spPr>
        <p:txBody>
          <a:bodyPr lIns="0" r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roduction </a:t>
            </a:r>
            <a:r>
              <a:rPr lang="en-US" sz="4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verview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453253C-8EA9-B247-8830-64D0A0EDB5C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082" r="21250"/>
          <a:stretch/>
        </p:blipFill>
        <p:spPr>
          <a:xfrm>
            <a:off x="8375650" y="4495800"/>
            <a:ext cx="550847" cy="63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49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able 8">
            <a:extLst>
              <a:ext uri="{FF2B5EF4-FFF2-40B4-BE49-F238E27FC236}">
                <a16:creationId xmlns:a16="http://schemas.microsoft.com/office/drawing/2014/main" id="{3B908D66-AA73-809C-3D58-2E6FAE69ED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950565"/>
              </p:ext>
            </p:extLst>
          </p:nvPr>
        </p:nvGraphicFramePr>
        <p:xfrm>
          <a:off x="228665" y="692448"/>
          <a:ext cx="8705023" cy="307848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412935">
                  <a:extLst>
                    <a:ext uri="{9D8B030D-6E8A-4147-A177-3AD203B41FA5}">
                      <a16:colId xmlns:a16="http://schemas.microsoft.com/office/drawing/2014/main" val="843429630"/>
                    </a:ext>
                  </a:extLst>
                </a:gridCol>
                <a:gridCol w="6292088">
                  <a:extLst>
                    <a:ext uri="{9D8B030D-6E8A-4147-A177-3AD203B41FA5}">
                      <a16:colId xmlns:a16="http://schemas.microsoft.com/office/drawing/2014/main" val="5040058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pose of this deck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deck is to be shown to customers to introduce and summarize the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ending business automation with RPA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mo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159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enario overview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demo uses an insurance policy quoting example to illustrate how Robotic Process Automation (RPA) can extend an existing Business Automation solution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469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(s) in the dem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Business Automation</a:t>
                      </a:r>
                      <a:endParaRPr lang="en-US" sz="11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4972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abilities to be demonstrated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PA bots; RPA chatbots; Workflow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216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ed product version(s)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Business Automation 21.0.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513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BM Technology Zone page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5"/>
                        </a:rPr>
                        <a:t>https://techzone.ibm.com/collection/platinum-demos-extending-business-automation-with-RPA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2904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vide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6"/>
                        </a:rPr>
                        <a:t>https://ibm.box.com/s/2j6wnm44i615krsobkh9c4p2s8ztsh8q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3803463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components</a:t>
                      </a: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22663667"/>
                  </a:ext>
                </a:extLst>
              </a:tr>
            </a:tbl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4 IBM Corpor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0C2ADF-0A9C-374C-90E9-2A5628F1D410}"/>
              </a:ext>
            </a:extLst>
          </p:cNvPr>
          <p:cNvSpPr txBox="1"/>
          <p:nvPr/>
        </p:nvSpPr>
        <p:spPr>
          <a:xfrm>
            <a:off x="4343401" y="112971"/>
            <a:ext cx="4709807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REMOVE THIS SLIDE BEFORE PRESENTING TO CUSTOMERS</a:t>
            </a:r>
          </a:p>
        </p:txBody>
      </p:sp>
      <p:sp>
        <p:nvSpPr>
          <p:cNvPr id="63" name="Rectangle 4">
            <a:extLst>
              <a:ext uri="{FF2B5EF4-FFF2-40B4-BE49-F238E27FC236}">
                <a16:creationId xmlns:a16="http://schemas.microsoft.com/office/drawing/2014/main" id="{50F125EE-213F-2146-86C9-67DA0351FE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85713" y="3669933"/>
            <a:ext cx="4498801" cy="1332206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squar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64" name="Rectangle 4">
            <a:extLst>
              <a:ext uri="{FF2B5EF4-FFF2-40B4-BE49-F238E27FC236}">
                <a16:creationId xmlns:a16="http://schemas.microsoft.com/office/drawing/2014/main" id="{D8FFC309-9E38-9B45-86B9-5537D774FF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377636" y="3669933"/>
            <a:ext cx="2285035" cy="1332206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71" name="Rectangle 3">
            <a:extLst>
              <a:ext uri="{FF2B5EF4-FFF2-40B4-BE49-F238E27FC236}">
                <a16:creationId xmlns:a16="http://schemas.microsoft.com/office/drawing/2014/main" id="{28522613-5289-4C43-9B6B-F2E5296A7F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23791" y="3804386"/>
            <a:ext cx="2075688" cy="9571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(development environment)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10578B0-5FB3-8E58-75A5-3FA72779F43F}"/>
              </a:ext>
            </a:extLst>
          </p:cNvPr>
          <p:cNvGrpSpPr/>
          <p:nvPr/>
        </p:nvGrpSpPr>
        <p:grpSpPr>
          <a:xfrm>
            <a:off x="2304335" y="4233281"/>
            <a:ext cx="1314601" cy="378344"/>
            <a:chOff x="2340671" y="4100932"/>
            <a:chExt cx="1314601" cy="378344"/>
          </a:xfrm>
        </p:grpSpPr>
        <p:sp>
          <p:nvSpPr>
            <p:cNvPr id="78" name="Rectangle 3">
              <a:extLst>
                <a:ext uri="{FF2B5EF4-FFF2-40B4-BE49-F238E27FC236}">
                  <a16:creationId xmlns:a16="http://schemas.microsoft.com/office/drawing/2014/main" id="{6516ADC5-BBF2-4548-A251-7DD5F815A7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034450" y="4100932"/>
              <a:ext cx="620822" cy="37834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tbot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  <p:sp>
          <p:nvSpPr>
            <p:cNvPr id="79" name="Rectangle 3">
              <a:extLst>
                <a:ext uri="{FF2B5EF4-FFF2-40B4-BE49-F238E27FC236}">
                  <a16:creationId xmlns:a16="http://schemas.microsoft.com/office/drawing/2014/main" id="{24B72296-16AF-A444-85C9-5910F06EE7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340671" y="4100932"/>
              <a:ext cx="620822" cy="37834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t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</p:grpSp>
      <p:sp>
        <p:nvSpPr>
          <p:cNvPr id="73" name="Rectangle 3">
            <a:extLst>
              <a:ext uri="{FF2B5EF4-FFF2-40B4-BE49-F238E27FC236}">
                <a16:creationId xmlns:a16="http://schemas.microsoft.com/office/drawing/2014/main" id="{BD98A115-410C-D040-97CD-0D889E0632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18563" y="3802049"/>
            <a:ext cx="2075689" cy="9571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low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0DACAEFA-4A9A-FB46-8C3F-E8ACA6DB1E96}"/>
              </a:ext>
            </a:extLst>
          </p:cNvPr>
          <p:cNvGrpSpPr/>
          <p:nvPr/>
        </p:nvGrpSpPr>
        <p:grpSpPr>
          <a:xfrm>
            <a:off x="4188853" y="4233116"/>
            <a:ext cx="1935108" cy="378509"/>
            <a:chOff x="-3655487" y="1766757"/>
            <a:chExt cx="2906774" cy="568568"/>
          </a:xfrm>
        </p:grpSpPr>
        <p:sp>
          <p:nvSpPr>
            <p:cNvPr id="75" name="Rectangle 3">
              <a:extLst>
                <a:ext uri="{FF2B5EF4-FFF2-40B4-BE49-F238E27FC236}">
                  <a16:creationId xmlns:a16="http://schemas.microsoft.com/office/drawing/2014/main" id="{14071E56-8647-B643-9E42-D4F75E5D26D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-2669105" y="1767006"/>
              <a:ext cx="934009" cy="5683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flow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  <p:sp>
          <p:nvSpPr>
            <p:cNvPr id="76" name="Rectangle 3">
              <a:extLst>
                <a:ext uri="{FF2B5EF4-FFF2-40B4-BE49-F238E27FC236}">
                  <a16:creationId xmlns:a16="http://schemas.microsoft.com/office/drawing/2014/main" id="{4B2FF4DA-FF00-5F4B-9D63-627FCE14B54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-3655487" y="1767000"/>
              <a:ext cx="932316" cy="56832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s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  <p:sp>
          <p:nvSpPr>
            <p:cNvPr id="77" name="Rectangle 3">
              <a:extLst>
                <a:ext uri="{FF2B5EF4-FFF2-40B4-BE49-F238E27FC236}">
                  <a16:creationId xmlns:a16="http://schemas.microsoft.com/office/drawing/2014/main" id="{07D54D29-0284-9945-AF85-C81B9616376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-1681028" y="1766757"/>
              <a:ext cx="932315" cy="56832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k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rtal</a:t>
              </a:r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28B10B26-48FB-A241-B267-0BF8F23B032A}"/>
              </a:ext>
            </a:extLst>
          </p:cNvPr>
          <p:cNvSpPr txBox="1"/>
          <p:nvPr/>
        </p:nvSpPr>
        <p:spPr>
          <a:xfrm>
            <a:off x="1785714" y="4781797"/>
            <a:ext cx="450692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  <a:t>Windows VMs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6B49A23-4AB7-6A4F-8B1B-D2C275A94034}"/>
              </a:ext>
            </a:extLst>
          </p:cNvPr>
          <p:cNvSpPr txBox="1"/>
          <p:nvPr/>
        </p:nvSpPr>
        <p:spPr>
          <a:xfrm>
            <a:off x="6385758" y="4781797"/>
            <a:ext cx="227691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  <a:t>RPA SaaS tenant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DB5CE96-4E80-2041-B2BD-20A7E40E5504}"/>
              </a:ext>
            </a:extLst>
          </p:cNvPr>
          <p:cNvSpPr txBox="1"/>
          <p:nvPr/>
        </p:nvSpPr>
        <p:spPr>
          <a:xfrm>
            <a:off x="1785712" y="3452317"/>
            <a:ext cx="44988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IBM TechZone-provided environment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8C46093-97AD-B448-A954-CE8578D62DE2}"/>
              </a:ext>
            </a:extLst>
          </p:cNvPr>
          <p:cNvSpPr txBox="1"/>
          <p:nvPr/>
        </p:nvSpPr>
        <p:spPr>
          <a:xfrm>
            <a:off x="6377633" y="3452317"/>
            <a:ext cx="228503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SaaS</a:t>
            </a:r>
          </a:p>
        </p:txBody>
      </p:sp>
      <p:sp>
        <p:nvSpPr>
          <p:cNvPr id="85" name="Rectangle 3">
            <a:extLst>
              <a:ext uri="{FF2B5EF4-FFF2-40B4-BE49-F238E27FC236}">
                <a16:creationId xmlns:a16="http://schemas.microsoft.com/office/drawing/2014/main" id="{EB278F99-4028-0F4B-9917-1DDFB622B3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482309" y="3802049"/>
            <a:ext cx="2075688" cy="9571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(server)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CFCE4CC6-8EE8-7748-B970-DE2FD88B9A78}"/>
              </a:ext>
            </a:extLst>
          </p:cNvPr>
          <p:cNvGrpSpPr/>
          <p:nvPr/>
        </p:nvGrpSpPr>
        <p:grpSpPr>
          <a:xfrm>
            <a:off x="6861882" y="4233281"/>
            <a:ext cx="1316542" cy="378344"/>
            <a:chOff x="1179940" y="3870904"/>
            <a:chExt cx="1977611" cy="568320"/>
          </a:xfrm>
        </p:grpSpPr>
        <p:sp>
          <p:nvSpPr>
            <p:cNvPr id="87" name="Rectangle 3">
              <a:extLst>
                <a:ext uri="{FF2B5EF4-FFF2-40B4-BE49-F238E27FC236}">
                  <a16:creationId xmlns:a16="http://schemas.microsoft.com/office/drawing/2014/main" id="{6F0E7A01-CCBA-F547-BB16-E2992CB8066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223541" y="3870904"/>
              <a:ext cx="934010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tbot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  <p:sp>
          <p:nvSpPr>
            <p:cNvPr id="88" name="Rectangle 3">
              <a:extLst>
                <a:ext uri="{FF2B5EF4-FFF2-40B4-BE49-F238E27FC236}">
                  <a16:creationId xmlns:a16="http://schemas.microsoft.com/office/drawing/2014/main" id="{66E18BD9-9C4B-5F4B-BBE7-0BF4A014005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179940" y="3870904"/>
              <a:ext cx="934009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ot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</p:grpSp>
      <p:sp>
        <p:nvSpPr>
          <p:cNvPr id="30" name="Title 1">
            <a:extLst>
              <a:ext uri="{FF2B5EF4-FFF2-40B4-BE49-F238E27FC236}">
                <a16:creationId xmlns:a16="http://schemas.microsoft.com/office/drawing/2014/main" id="{BF0E2782-CF9A-4B78-4049-966BC5726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308333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</a:p>
        </p:txBody>
      </p:sp>
    </p:spTree>
    <p:extLst>
      <p:ext uri="{BB962C8B-B14F-4D97-AF65-F5344CB8AC3E}">
        <p14:creationId xmlns:p14="http://schemas.microsoft.com/office/powerpoint/2010/main" val="31140663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blur&#10;&#10;Description automatically generated">
            <a:extLst>
              <a:ext uri="{FF2B5EF4-FFF2-40B4-BE49-F238E27FC236}">
                <a16:creationId xmlns:a16="http://schemas.microsoft.com/office/drawing/2014/main" id="{A351A12B-4873-BD68-0428-8B2EFE8AFFCA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2" name="Picture 21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B2BA50D-CC09-CB22-8BDB-C02BAA883ABD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1">
            <a:extLst>
              <a:ext uri="{FF2B5EF4-FFF2-40B4-BE49-F238E27FC236}">
                <a16:creationId xmlns:a16="http://schemas.microsoft.com/office/drawing/2014/main" id="{A68CDC5D-A261-DE43-81EE-201B7FFD1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4004700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63D44C0-2EC9-C848-9F91-E6E4BBF7F02C}"/>
              </a:ext>
            </a:extLst>
          </p:cNvPr>
          <p:cNvSpPr/>
          <p:nvPr/>
        </p:nvSpPr>
        <p:spPr>
          <a:xfrm>
            <a:off x="210311" y="4033388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Pak capabilities in the demo</a:t>
            </a:r>
          </a:p>
        </p:txBody>
      </p: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F64196B1-B759-B245-9DB0-3AE276C83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918941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B3D0802-84E9-6B43-9827-DE75289CF9DB}"/>
              </a:ext>
            </a:extLst>
          </p:cNvPr>
          <p:cNvSpPr/>
          <p:nvPr/>
        </p:nvSpPr>
        <p:spPr>
          <a:xfrm>
            <a:off x="210311" y="953344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</a:t>
            </a:r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51AB8DAD-D38A-2AD0-7950-B1ABA225F6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02619" y="4232849"/>
            <a:ext cx="5739304" cy="48325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652C63A-7C91-F9B5-73E6-CCDA5C389FD2}"/>
              </a:ext>
            </a:extLst>
          </p:cNvPr>
          <p:cNvCxnSpPr>
            <a:cxnSpLocks/>
          </p:cNvCxnSpPr>
          <p:nvPr/>
        </p:nvCxnSpPr>
        <p:spPr bwMode="auto">
          <a:xfrm>
            <a:off x="4512980" y="4330614"/>
            <a:ext cx="0" cy="300524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17B548B0-3519-BD85-1724-55A65380BA86}"/>
              </a:ext>
            </a:extLst>
          </p:cNvPr>
          <p:cNvSpPr/>
          <p:nvPr/>
        </p:nvSpPr>
        <p:spPr>
          <a:xfrm>
            <a:off x="2602618" y="4232849"/>
            <a:ext cx="1910362" cy="477274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914400"/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bot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052E806-7158-6673-98B1-75096B9A32BD}"/>
              </a:ext>
            </a:extLst>
          </p:cNvPr>
          <p:cNvSpPr/>
          <p:nvPr/>
        </p:nvSpPr>
        <p:spPr>
          <a:xfrm>
            <a:off x="4512979" y="4232849"/>
            <a:ext cx="1910362" cy="477274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914400"/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chatbot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21A5964-0091-20B5-9BB6-195F0885246F}"/>
              </a:ext>
            </a:extLst>
          </p:cNvPr>
          <p:cNvSpPr/>
          <p:nvPr/>
        </p:nvSpPr>
        <p:spPr>
          <a:xfrm>
            <a:off x="6431355" y="4232849"/>
            <a:ext cx="1910362" cy="477274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ctr" anchorCtr="0" compatLnSpc="1">
            <a:prstTxWarp prst="textNoShape">
              <a:avLst/>
            </a:prstTxWarp>
          </a:bodyPr>
          <a:lstStyle/>
          <a:p>
            <a:pPr lvl="0" algn="ctr" defTabSz="914400"/>
            <a:r>
              <a:rPr lang="en-US" sz="12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low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9FB26E8-0A5B-A082-03BA-315F84B4AE06}"/>
              </a:ext>
            </a:extLst>
          </p:cNvPr>
          <p:cNvCxnSpPr>
            <a:cxnSpLocks/>
          </p:cNvCxnSpPr>
          <p:nvPr/>
        </p:nvCxnSpPr>
        <p:spPr bwMode="auto">
          <a:xfrm>
            <a:off x="6425447" y="4330614"/>
            <a:ext cx="0" cy="300524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DA93902-52C2-AC4B-A5CA-D01B49473E91}"/>
              </a:ext>
            </a:extLst>
          </p:cNvPr>
          <p:cNvGrpSpPr/>
          <p:nvPr/>
        </p:nvGrpSpPr>
        <p:grpSpPr>
          <a:xfrm>
            <a:off x="1126152" y="1145843"/>
            <a:ext cx="6891696" cy="2631954"/>
            <a:chOff x="3224006" y="1094697"/>
            <a:chExt cx="5418744" cy="2631954"/>
          </a:xfrm>
        </p:grpSpPr>
        <p:sp>
          <p:nvSpPr>
            <p:cNvPr id="33" name="Rectangle 3">
              <a:extLst>
                <a:ext uri="{FF2B5EF4-FFF2-40B4-BE49-F238E27FC236}">
                  <a16:creationId xmlns:a16="http://schemas.microsoft.com/office/drawing/2014/main" id="{2F279089-414C-C042-86EB-78CBFE21B4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224006" y="1094697"/>
              <a:ext cx="3474990" cy="65836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Future Corp wants to grow their customer base by creating a quick and easy way for new customers to buy automobile insurance online.</a:t>
              </a:r>
            </a:p>
          </p:txBody>
        </p:sp>
        <p:sp>
          <p:nvSpPr>
            <p:cNvPr id="34" name="Rectangle 3">
              <a:extLst>
                <a:ext uri="{FF2B5EF4-FFF2-40B4-BE49-F238E27FC236}">
                  <a16:creationId xmlns:a16="http://schemas.microsoft.com/office/drawing/2014/main" id="{450CC1A9-E675-1D4F-9338-BBC0F5B707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172578" y="3068283"/>
              <a:ext cx="3470172" cy="6583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en a potential customer provides insurance information to the chatbot, the system automatically produces and emails a quote in seconds. Exceptions are still managed by workflow.</a:t>
              </a:r>
            </a:p>
          </p:txBody>
        </p:sp>
        <p:sp>
          <p:nvSpPr>
            <p:cNvPr id="35" name="Rectangle 3">
              <a:extLst>
                <a:ext uri="{FF2B5EF4-FFF2-40B4-BE49-F238E27FC236}">
                  <a16:creationId xmlns:a16="http://schemas.microsoft.com/office/drawing/2014/main" id="{F68CF7C8-1703-F348-A545-BE161531156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23144" y="2410421"/>
              <a:ext cx="3474720" cy="65836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company uses the same ‘bot’ tooling to create chatbots that can interact conversationally with the customer to get the information needed to produce a quote.</a:t>
              </a:r>
            </a:p>
          </p:txBody>
        </p:sp>
        <p:sp>
          <p:nvSpPr>
            <p:cNvPr id="36" name="Rectangle 3">
              <a:extLst>
                <a:ext uri="{FF2B5EF4-FFF2-40B4-BE49-F238E27FC236}">
                  <a16:creationId xmlns:a16="http://schemas.microsoft.com/office/drawing/2014/main" id="{5EE9657A-76D7-594A-B56E-C32DBE0C8DC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873710" y="1752559"/>
              <a:ext cx="3474720" cy="6583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anchor="ctr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Although much of their process is automated with workflow, key steps are manual. The company creates software robots to create insurance quotes and email them to customer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703877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blur&#10;&#10;Description automatically generated">
            <a:extLst>
              <a:ext uri="{FF2B5EF4-FFF2-40B4-BE49-F238E27FC236}">
                <a16:creationId xmlns:a16="http://schemas.microsoft.com/office/drawing/2014/main" id="{6C3D0D4B-BA75-DB0E-F120-496E0054E2F1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30" name="Picture 29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A9AEAABA-9C60-0788-DE16-8365B904CBF1}"/>
              </a:ext>
            </a:extLst>
          </p:cNvPr>
          <p:cNvPicPr>
            <a:picLocks noChangeAspect="1"/>
          </p:cNvPicPr>
          <p:nvPr/>
        </p:nvPicPr>
        <p:blipFill>
          <a:blip r:embed="rId11">
            <a:alphaModFix amt="24000"/>
          </a:blip>
          <a:stretch>
            <a:fillRect/>
          </a:stretch>
        </p:blipFill>
        <p:spPr>
          <a:xfrm>
            <a:off x="0" y="176213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flo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4ADA968-9D99-4853-08B9-916A141963EE}"/>
              </a:ext>
            </a:extLst>
          </p:cNvPr>
          <p:cNvGrpSpPr/>
          <p:nvPr/>
        </p:nvGrpSpPr>
        <p:grpSpPr>
          <a:xfrm>
            <a:off x="228667" y="1542703"/>
            <a:ext cx="8686666" cy="2058094"/>
            <a:chOff x="228667" y="1723195"/>
            <a:chExt cx="8686666" cy="2058094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B63F996B-5E95-4D46-B53C-FCF10FC1A669}"/>
                </a:ext>
              </a:extLst>
            </p:cNvPr>
            <p:cNvGrpSpPr/>
            <p:nvPr/>
          </p:nvGrpSpPr>
          <p:grpSpPr>
            <a:xfrm>
              <a:off x="228667" y="1723820"/>
              <a:ext cx="1645210" cy="2056844"/>
              <a:chOff x="228664" y="3101431"/>
              <a:chExt cx="2103121" cy="2056844"/>
            </a:xfrm>
          </p:grpSpPr>
          <p:sp>
            <p:nvSpPr>
              <p:cNvPr id="8" name="Rectangle 3">
                <a:extLst>
                  <a:ext uri="{FF2B5EF4-FFF2-40B4-BE49-F238E27FC236}">
                    <a16:creationId xmlns:a16="http://schemas.microsoft.com/office/drawing/2014/main" id="{1F13DFAD-69BD-FC4B-805F-A21C2507EF6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28665" y="3101431"/>
                <a:ext cx="2103120" cy="519548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s-is process</a:t>
                </a:r>
              </a:p>
            </p:txBody>
          </p:sp>
          <p:sp>
            <p:nvSpPr>
              <p:cNvPr id="9" name="Rectangle 4">
                <a:extLst>
                  <a:ext uri="{FF2B5EF4-FFF2-40B4-BE49-F238E27FC236}">
                    <a16:creationId xmlns:a16="http://schemas.microsoft.com/office/drawing/2014/main" id="{CE41BB34-7C40-7E4B-9E2D-D3F38AF950DB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28664" y="3619789"/>
                <a:ext cx="2103120" cy="153848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1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he quoting process is automated with workflow but key steps are still manual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9228875B-5713-2C4F-AEA2-F532D8B88F4F}"/>
                </a:ext>
              </a:extLst>
            </p:cNvPr>
            <p:cNvGrpSpPr/>
            <p:nvPr/>
          </p:nvGrpSpPr>
          <p:grpSpPr>
            <a:xfrm>
              <a:off x="2575818" y="1723196"/>
              <a:ext cx="1645210" cy="2058093"/>
              <a:chOff x="2016284" y="1764942"/>
              <a:chExt cx="2103120" cy="2058093"/>
            </a:xfrm>
          </p:grpSpPr>
          <p:sp>
            <p:nvSpPr>
              <p:cNvPr id="23" name="Rectangle 3">
                <a:extLst>
                  <a:ext uri="{FF2B5EF4-FFF2-40B4-BE49-F238E27FC236}">
                    <a16:creationId xmlns:a16="http://schemas.microsoft.com/office/drawing/2014/main" id="{9B280A5F-18FE-3E43-8B97-CDE8D51B0FD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016284" y="1764942"/>
                <a:ext cx="2103120" cy="51954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Bot authoring</a:t>
                </a:r>
              </a:p>
            </p:txBody>
          </p:sp>
          <p:sp>
            <p:nvSpPr>
              <p:cNvPr id="24" name="Rectangle 4">
                <a:extLst>
                  <a:ext uri="{FF2B5EF4-FFF2-40B4-BE49-F238E27FC236}">
                    <a16:creationId xmlns:a16="http://schemas.microsoft.com/office/drawing/2014/main" id="{DCF49236-97C3-D64F-A92A-7A9663ADA4B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016284" y="2284489"/>
                <a:ext cx="2103120" cy="153854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1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Bots are built to generate insurance quotes and email them to customers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4436F63D-74C7-E54E-86F0-F262D838D463}"/>
                </a:ext>
              </a:extLst>
            </p:cNvPr>
            <p:cNvGrpSpPr/>
            <p:nvPr/>
          </p:nvGrpSpPr>
          <p:grpSpPr>
            <a:xfrm>
              <a:off x="4922969" y="1723196"/>
              <a:ext cx="1645210" cy="2058093"/>
              <a:chOff x="3497729" y="1764942"/>
              <a:chExt cx="1962912" cy="2058093"/>
            </a:xfrm>
          </p:grpSpPr>
          <p:sp>
            <p:nvSpPr>
              <p:cNvPr id="25" name="Rectangle 3">
                <a:extLst>
                  <a:ext uri="{FF2B5EF4-FFF2-40B4-BE49-F238E27FC236}">
                    <a16:creationId xmlns:a16="http://schemas.microsoft.com/office/drawing/2014/main" id="{D22060B1-2A09-714B-A299-B99F4946E8A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497729" y="1764942"/>
                <a:ext cx="1962912" cy="518357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Building and</a:t>
                </a:r>
              </a:p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raining chatbots</a:t>
                </a:r>
              </a:p>
            </p:txBody>
          </p:sp>
          <p:sp>
            <p:nvSpPr>
              <p:cNvPr id="26" name="Rectangle 4">
                <a:extLst>
                  <a:ext uri="{FF2B5EF4-FFF2-40B4-BE49-F238E27FC236}">
                    <a16:creationId xmlns:a16="http://schemas.microsoft.com/office/drawing/2014/main" id="{C0DF3D78-1210-3F42-BFE5-5FEFF72DF72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497729" y="2283299"/>
                <a:ext cx="1962912" cy="153973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1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 chatbot is created to interact with the customer to get the information needed to produce a quote</a:t>
                </a: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E2D58CE6-6074-994E-84BB-32F1C0BA8CCC}"/>
                </a:ext>
              </a:extLst>
            </p:cNvPr>
            <p:cNvGrpSpPr/>
            <p:nvPr/>
          </p:nvGrpSpPr>
          <p:grpSpPr>
            <a:xfrm>
              <a:off x="7270123" y="1723195"/>
              <a:ext cx="1645210" cy="2058094"/>
              <a:chOff x="5591522" y="1764943"/>
              <a:chExt cx="1927860" cy="2058094"/>
            </a:xfrm>
          </p:grpSpPr>
          <p:sp>
            <p:nvSpPr>
              <p:cNvPr id="27" name="Rectangle 3">
                <a:extLst>
                  <a:ext uri="{FF2B5EF4-FFF2-40B4-BE49-F238E27FC236}">
                    <a16:creationId xmlns:a16="http://schemas.microsoft.com/office/drawing/2014/main" id="{95E0FB38-4104-194E-96F9-EFE06589C009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591522" y="1764943"/>
                <a:ext cx="1927860" cy="518358"/>
              </a:xfrm>
              <a:prstGeom prst="rect">
                <a:avLst/>
              </a:prstGeom>
              <a:solidFill>
                <a:srgbClr val="0F62FE"/>
              </a:solidFill>
              <a:ln>
                <a:noFill/>
              </a:ln>
            </p:spPr>
            <p:txBody>
              <a:bodyPr wrap="squar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defRPr/>
                </a:pPr>
                <a:r>
                  <a:rPr lang="en-US" altLang="ja-JP" sz="1200" kern="0" dirty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unning the bots</a:t>
                </a:r>
              </a:p>
            </p:txBody>
          </p:sp>
          <p:sp>
            <p:nvSpPr>
              <p:cNvPr id="28" name="Rectangle 4">
                <a:extLst>
                  <a:ext uri="{FF2B5EF4-FFF2-40B4-BE49-F238E27FC236}">
                    <a16:creationId xmlns:a16="http://schemas.microsoft.com/office/drawing/2014/main" id="{E79DBFFD-DC9E-334D-B406-B54150E15182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5591522" y="2283301"/>
                <a:ext cx="1927860" cy="1539736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anchor="t"/>
              <a:lstStyle>
                <a:lvl1pPr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489075" algn="l"/>
                  </a:tabLs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algn="ctr" defTabSz="685808">
                  <a:tabLst>
                    <a:tab pos="1489094" algn="l"/>
                  </a:tabLst>
                  <a:defRPr/>
                </a:pPr>
                <a:endParaRPr lang="en-GB" altLang="ja-JP" sz="11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algn="ctr" defTabSz="685808">
                  <a:tabLst>
                    <a:tab pos="1489094" algn="l"/>
                  </a:tabLst>
                  <a:defRPr/>
                </a:pPr>
                <a:r>
                  <a:rPr lang="en-GB" altLang="ja-JP" sz="1200" kern="0" dirty="0"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n insurance customer provides information to the chatbot and the system produces and emails a quote</a:t>
                </a:r>
              </a:p>
            </p:txBody>
          </p:sp>
        </p:grpSp>
      </p:grp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B67AC849-3B87-4959-DE01-D586605B2390}"/>
              </a:ext>
            </a:extLst>
          </p:cNvPr>
          <p:cNvCxnSpPr>
            <a:cxnSpLocks/>
          </p:cNvCxnSpPr>
          <p:nvPr/>
        </p:nvCxnSpPr>
        <p:spPr bwMode="auto">
          <a:xfrm>
            <a:off x="1988795" y="2571750"/>
            <a:ext cx="463092" cy="0"/>
          </a:xfrm>
          <a:prstGeom prst="straightConnector1">
            <a:avLst/>
          </a:prstGeom>
          <a:ln w="111125">
            <a:solidFill>
              <a:srgbClr val="BAE6FF"/>
            </a:solidFill>
            <a:headEnd type="none" w="med" len="sm"/>
            <a:tailEnd type="triangle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7968F2A9-C6AE-94C8-F9FB-C42A7CF0A290}"/>
              </a:ext>
            </a:extLst>
          </p:cNvPr>
          <p:cNvCxnSpPr>
            <a:cxnSpLocks/>
          </p:cNvCxnSpPr>
          <p:nvPr/>
        </p:nvCxnSpPr>
        <p:spPr bwMode="auto">
          <a:xfrm>
            <a:off x="6705103" y="2633789"/>
            <a:ext cx="463092" cy="0"/>
          </a:xfrm>
          <a:prstGeom prst="straightConnector1">
            <a:avLst/>
          </a:prstGeom>
          <a:ln w="111125">
            <a:solidFill>
              <a:srgbClr val="BAE6FF"/>
            </a:solidFill>
            <a:headEnd type="none" w="med" len="sm"/>
            <a:tailEnd type="triangle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67CE9A6B-32FA-185D-6366-8937ECF92DAA}"/>
              </a:ext>
            </a:extLst>
          </p:cNvPr>
          <p:cNvCxnSpPr>
            <a:cxnSpLocks/>
          </p:cNvCxnSpPr>
          <p:nvPr/>
        </p:nvCxnSpPr>
        <p:spPr bwMode="auto">
          <a:xfrm>
            <a:off x="4343401" y="2633789"/>
            <a:ext cx="463092" cy="0"/>
          </a:xfrm>
          <a:prstGeom prst="straightConnector1">
            <a:avLst/>
          </a:prstGeom>
          <a:ln w="111125">
            <a:solidFill>
              <a:srgbClr val="BAE6FF"/>
            </a:solidFill>
            <a:headEnd type="none" w="med" len="sm"/>
            <a:tailEnd type="triangle" w="med" len="sm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30583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 descr="A picture containing blur&#10;&#10;Description automatically generated">
            <a:extLst>
              <a:ext uri="{FF2B5EF4-FFF2-40B4-BE49-F238E27FC236}">
                <a16:creationId xmlns:a16="http://schemas.microsoft.com/office/drawing/2014/main" id="{F6B56E50-84EC-C4BA-741A-6CD02F4BBFAB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39" name="Picture 38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CD318F-7734-2E50-FC0C-F9F3BC24453D}"/>
              </a:ext>
            </a:extLst>
          </p:cNvPr>
          <p:cNvPicPr>
            <a:picLocks noChangeAspect="1"/>
          </p:cNvPicPr>
          <p:nvPr/>
        </p:nvPicPr>
        <p:blipFill>
          <a:blip r:embed="rId15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components</a:t>
            </a:r>
            <a:b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98CD10A-2A90-584E-8D93-B48579F51AAC}"/>
              </a:ext>
            </a:extLst>
          </p:cNvPr>
          <p:cNvGrpSpPr/>
          <p:nvPr/>
        </p:nvGrpSpPr>
        <p:grpSpPr>
          <a:xfrm>
            <a:off x="777460" y="1306136"/>
            <a:ext cx="7589081" cy="2531229"/>
            <a:chOff x="844550" y="1510025"/>
            <a:chExt cx="7589081" cy="2531229"/>
          </a:xfrm>
        </p:grpSpPr>
        <p:sp>
          <p:nvSpPr>
            <p:cNvPr id="36" name="Rectangle 4">
              <a:extLst>
                <a:ext uri="{FF2B5EF4-FFF2-40B4-BE49-F238E27FC236}">
                  <a16:creationId xmlns:a16="http://schemas.microsoft.com/office/drawing/2014/main" id="{41F735F8-602D-3346-AC08-E69BE50D2FB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844550" y="1510025"/>
              <a:ext cx="4868960" cy="2528576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sp>
          <p:nvSpPr>
            <p:cNvPr id="37" name="Rectangle 4">
              <a:extLst>
                <a:ext uri="{FF2B5EF4-FFF2-40B4-BE49-F238E27FC236}">
                  <a16:creationId xmlns:a16="http://schemas.microsoft.com/office/drawing/2014/main" id="{EDB01428-4F22-724C-A203-20CA6FB9ED7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902272" y="1512678"/>
              <a:ext cx="2531359" cy="2528576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BD5AA4EB-72AC-A149-9CB7-39DDC05601EC}"/>
                </a:ext>
              </a:extLst>
            </p:cNvPr>
            <p:cNvGrpSpPr/>
            <p:nvPr/>
          </p:nvGrpSpPr>
          <p:grpSpPr>
            <a:xfrm>
              <a:off x="1033312" y="1699248"/>
              <a:ext cx="4491437" cy="2150130"/>
              <a:chOff x="1027983" y="1710670"/>
              <a:chExt cx="4491437" cy="2150130"/>
            </a:xfrm>
          </p:grpSpPr>
          <p:sp>
            <p:nvSpPr>
              <p:cNvPr id="23" name="Rectangle 3">
                <a:extLst>
                  <a:ext uri="{FF2B5EF4-FFF2-40B4-BE49-F238E27FC236}">
                    <a16:creationId xmlns:a16="http://schemas.microsoft.com/office/drawing/2014/main" id="{4C402225-C778-C14D-B933-25C31BD7318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027983" y="1710670"/>
                <a:ext cx="2148840" cy="214963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anchor="t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b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PA</a:t>
                </a:r>
                <a:b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development environment)</a:t>
                </a:r>
              </a:p>
            </p:txBody>
          </p: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81950E2B-91E0-824B-B326-AE120710C4D9}"/>
                  </a:ext>
                </a:extLst>
              </p:cNvPr>
              <p:cNvGrpSpPr/>
              <p:nvPr/>
            </p:nvGrpSpPr>
            <p:grpSpPr>
              <a:xfrm>
                <a:off x="1243878" y="2764639"/>
                <a:ext cx="1717049" cy="568320"/>
                <a:chOff x="1290990" y="3870904"/>
                <a:chExt cx="1717049" cy="568320"/>
              </a:xfrm>
            </p:grpSpPr>
            <p:sp>
              <p:nvSpPr>
                <p:cNvPr id="25" name="Rectangle 3">
                  <a:extLst>
                    <a:ext uri="{FF2B5EF4-FFF2-40B4-BE49-F238E27FC236}">
                      <a16:creationId xmlns:a16="http://schemas.microsoft.com/office/drawing/2014/main" id="{C8B60188-DB08-C444-A17E-7A5F8BFC91DB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1"/>
                  </p:custDataLst>
                </p:nvPr>
              </p:nvSpPr>
              <p:spPr bwMode="auto">
                <a:xfrm>
                  <a:off x="2185079" y="3870904"/>
                  <a:ext cx="822960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hatbot</a:t>
                  </a:r>
                  <a:b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uthoring</a:t>
                  </a:r>
                </a:p>
              </p:txBody>
            </p:sp>
            <p:sp>
              <p:nvSpPr>
                <p:cNvPr id="26" name="Rectangle 3">
                  <a:extLst>
                    <a:ext uri="{FF2B5EF4-FFF2-40B4-BE49-F238E27FC236}">
                      <a16:creationId xmlns:a16="http://schemas.microsoft.com/office/drawing/2014/main" id="{4070D2BC-1B10-5349-AE6D-D2271A26B1F1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2"/>
                  </p:custDataLst>
                </p:nvPr>
              </p:nvSpPr>
              <p:spPr bwMode="auto">
                <a:xfrm>
                  <a:off x="1290990" y="3870904"/>
                  <a:ext cx="822960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ot</a:t>
                  </a:r>
                  <a:b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uthoring</a:t>
                  </a:r>
                </a:p>
              </p:txBody>
            </p:sp>
          </p:grpSp>
          <p:sp>
            <p:nvSpPr>
              <p:cNvPr id="27" name="Rectangle 3">
                <a:extLst>
                  <a:ext uri="{FF2B5EF4-FFF2-40B4-BE49-F238E27FC236}">
                    <a16:creationId xmlns:a16="http://schemas.microsoft.com/office/drawing/2014/main" id="{886FBCD2-1F5E-7F40-ACA8-27205C810BA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370580" y="1711160"/>
                <a:ext cx="2148840" cy="214964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anchor="t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b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orkflow</a:t>
                </a:r>
              </a:p>
            </p:txBody>
          </p: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13423A11-E14F-EE41-8990-69A8659605D0}"/>
                  </a:ext>
                </a:extLst>
              </p:cNvPr>
              <p:cNvGrpSpPr/>
              <p:nvPr/>
            </p:nvGrpSpPr>
            <p:grpSpPr>
              <a:xfrm>
                <a:off x="3580801" y="2441764"/>
                <a:ext cx="1717049" cy="1215491"/>
                <a:chOff x="2562905" y="1920345"/>
                <a:chExt cx="1717049" cy="1215491"/>
              </a:xfrm>
            </p:grpSpPr>
            <p:sp>
              <p:nvSpPr>
                <p:cNvPr id="29" name="Rectangle 3">
                  <a:extLst>
                    <a:ext uri="{FF2B5EF4-FFF2-40B4-BE49-F238E27FC236}">
                      <a16:creationId xmlns:a16="http://schemas.microsoft.com/office/drawing/2014/main" id="{4A8CE006-FCA6-EA42-BD3C-FA0334071457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8"/>
                  </p:custDataLst>
                </p:nvPr>
              </p:nvSpPr>
              <p:spPr bwMode="auto">
                <a:xfrm>
                  <a:off x="3456994" y="1920345"/>
                  <a:ext cx="822960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Work</a:t>
                  </a:r>
                  <a:b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ortal</a:t>
                  </a:r>
                </a:p>
              </p:txBody>
            </p:sp>
            <p:sp>
              <p:nvSpPr>
                <p:cNvPr id="30" name="Rectangle 3">
                  <a:extLst>
                    <a:ext uri="{FF2B5EF4-FFF2-40B4-BE49-F238E27FC236}">
                      <a16:creationId xmlns:a16="http://schemas.microsoft.com/office/drawing/2014/main" id="{CDCFA775-A5B4-3647-98C3-08F4DBDCE4F7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9"/>
                  </p:custDataLst>
                </p:nvPr>
              </p:nvSpPr>
              <p:spPr bwMode="auto">
                <a:xfrm>
                  <a:off x="2562905" y="1920345"/>
                  <a:ext cx="822960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Process</a:t>
                  </a:r>
                  <a:b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uthoring</a:t>
                  </a:r>
                </a:p>
              </p:txBody>
            </p:sp>
            <p:sp>
              <p:nvSpPr>
                <p:cNvPr id="31" name="Rectangle 3">
                  <a:extLst>
                    <a:ext uri="{FF2B5EF4-FFF2-40B4-BE49-F238E27FC236}">
                      <a16:creationId xmlns:a16="http://schemas.microsoft.com/office/drawing/2014/main" id="{8414126C-EB4B-CD4F-A557-01A967C3F4FA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10"/>
                  </p:custDataLst>
                </p:nvPr>
              </p:nvSpPr>
              <p:spPr bwMode="auto">
                <a:xfrm>
                  <a:off x="3015624" y="2567516"/>
                  <a:ext cx="822960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Workflow</a:t>
                  </a:r>
                  <a:b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untime</a:t>
                  </a:r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BCD1BC3-6421-9747-80AF-A7F34FC6F5F1}"/>
                </a:ext>
              </a:extLst>
            </p:cNvPr>
            <p:cNvGrpSpPr/>
            <p:nvPr/>
          </p:nvGrpSpPr>
          <p:grpSpPr>
            <a:xfrm>
              <a:off x="6093531" y="1702147"/>
              <a:ext cx="2148840" cy="2149639"/>
              <a:chOff x="3410047" y="4310471"/>
              <a:chExt cx="2148840" cy="2149639"/>
            </a:xfrm>
          </p:grpSpPr>
          <p:sp>
            <p:nvSpPr>
              <p:cNvPr id="32" name="Rectangle 3">
                <a:extLst>
                  <a:ext uri="{FF2B5EF4-FFF2-40B4-BE49-F238E27FC236}">
                    <a16:creationId xmlns:a16="http://schemas.microsoft.com/office/drawing/2014/main" id="{51A53B94-BADF-5649-A430-75AEF53BA66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410047" y="4310471"/>
                <a:ext cx="2148840" cy="214963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anchor="t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b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RPA</a:t>
                </a:r>
                <a:b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server)</a:t>
                </a:r>
                <a:endParaRPr lang="en-US" sz="1100" b="1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D8279D08-B35A-804A-B584-9FE98C132DA4}"/>
                  </a:ext>
                </a:extLst>
              </p:cNvPr>
              <p:cNvGrpSpPr/>
              <p:nvPr/>
            </p:nvGrpSpPr>
            <p:grpSpPr>
              <a:xfrm>
                <a:off x="3625942" y="5364441"/>
                <a:ext cx="1717049" cy="568320"/>
                <a:chOff x="1290990" y="3870904"/>
                <a:chExt cx="1717049" cy="568320"/>
              </a:xfrm>
            </p:grpSpPr>
            <p:sp>
              <p:nvSpPr>
                <p:cNvPr id="34" name="Rectangle 3">
                  <a:extLst>
                    <a:ext uri="{FF2B5EF4-FFF2-40B4-BE49-F238E27FC236}">
                      <a16:creationId xmlns:a16="http://schemas.microsoft.com/office/drawing/2014/main" id="{94BFB403-CA6F-BB47-8048-FD958C6DAE69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4"/>
                  </p:custDataLst>
                </p:nvPr>
              </p:nvSpPr>
              <p:spPr bwMode="auto">
                <a:xfrm>
                  <a:off x="2185079" y="3870904"/>
                  <a:ext cx="822960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hatbot</a:t>
                  </a:r>
                  <a:b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untime</a:t>
                  </a:r>
                </a:p>
              </p:txBody>
            </p:sp>
            <p:sp>
              <p:nvSpPr>
                <p:cNvPr id="35" name="Rectangle 3">
                  <a:extLst>
                    <a:ext uri="{FF2B5EF4-FFF2-40B4-BE49-F238E27FC236}">
                      <a16:creationId xmlns:a16="http://schemas.microsoft.com/office/drawing/2014/main" id="{00C554BB-A774-0547-A198-27F8F4144A90}"/>
                    </a:ext>
                    <a:ext uri="{C183D7F6-B498-43B3-948B-1728B52AA6E4}">
                      <adec:decorative xmlns:adec="http://schemas.microsoft.com/office/drawing/2017/decorative" val="1"/>
                    </a:ext>
                  </a:extLst>
                </p:cNvPr>
                <p:cNvSpPr>
                  <a:spLocks noChangeArrowheads="1"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>
                  <a:off x="1290990" y="3870904"/>
                  <a:ext cx="822960" cy="568320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anchor="ctr"/>
                <a:lstStyle>
                  <a:lvl1pPr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1pPr>
                  <a:lvl2pPr marL="742950" indent="-28575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2pPr>
                  <a:lvl3pPr marL="11430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3pPr>
                  <a:lvl4pPr marL="16002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4pPr>
                  <a:lvl5pPr marL="2057400" indent="-228600"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1400">
                      <a:solidFill>
                        <a:schemeClr val="tx1"/>
                      </a:solidFill>
                      <a:latin typeface="Arial" charset="0"/>
                      <a:ea typeface="ＭＳ Ｐゴシック" charset="-128"/>
                    </a:defRPr>
                  </a:lvl9pPr>
                </a:lstStyle>
                <a:p>
                  <a:pPr marL="0" lvl="1" indent="0" algn="ctr" defTabSz="914400" fontAlgn="base">
                    <a:spcBef>
                      <a:spcPts val="1100"/>
                    </a:spcBef>
                    <a:spcAft>
                      <a:spcPct val="0"/>
                    </a:spcAft>
                    <a:buClr>
                      <a:schemeClr val="bg1"/>
                    </a:buClr>
                    <a:buSzPct val="100000"/>
                  </a:pP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ot</a:t>
                  </a:r>
                  <a:b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</a:br>
                  <a:r>
                    <a:rPr lang="en-US" sz="1100" kern="0" dirty="0">
                      <a:solidFill>
                        <a:schemeClr val="bg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untime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4740022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5FC501F7-74BE-3A08-8900-6F93FF2ED203}"/>
              </a:ext>
            </a:extLst>
          </p:cNvPr>
          <p:cNvSpPr txBox="1">
            <a:spLocks/>
          </p:cNvSpPr>
          <p:nvPr/>
        </p:nvSpPr>
        <p:spPr>
          <a:xfrm>
            <a:off x="2" y="1112775"/>
            <a:ext cx="9143998" cy="1458975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</a:p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ing business automation with RPA</a:t>
            </a:r>
            <a:endParaRPr lang="en-US" sz="32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623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blur&#10;&#10;Description automatically generated">
            <a:extLst>
              <a:ext uri="{FF2B5EF4-FFF2-40B4-BE49-F238E27FC236}">
                <a16:creationId xmlns:a16="http://schemas.microsoft.com/office/drawing/2014/main" id="{E6701448-E8AD-F30E-8CF0-761E6D1B4B6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7" name="Picture 2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B1502845-0225-3387-E8BD-DA12F57953F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2" y="-19305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IBM Corpor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667D6D-B90D-EAC9-6B98-A8947C61BA59}"/>
              </a:ext>
            </a:extLst>
          </p:cNvPr>
          <p:cNvSpPr/>
          <p:nvPr/>
        </p:nvSpPr>
        <p:spPr bwMode="auto">
          <a:xfrm>
            <a:off x="329582" y="990511"/>
            <a:ext cx="8484837" cy="3790784"/>
          </a:xfrm>
          <a:prstGeom prst="rect">
            <a:avLst/>
          </a:prstGeom>
          <a:solidFill>
            <a:schemeClr val="tx1">
              <a:alpha val="5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FFFFFF"/>
              </a:solidFill>
              <a:latin typeface="IBM Plex Sans Light"/>
            </a:endParaRPr>
          </a:p>
        </p:txBody>
      </p:sp>
      <p:sp>
        <p:nvSpPr>
          <p:cNvPr id="33" name="Title">
            <a:extLst>
              <a:ext uri="{FF2B5EF4-FFF2-40B4-BE49-F238E27FC236}">
                <a16:creationId xmlns:a16="http://schemas.microsoft.com/office/drawing/2014/main" id="{83962735-38FC-B4FB-04B2-BAEFFA01C6F0}"/>
              </a:ext>
            </a:extLst>
          </p:cNvPr>
          <p:cNvSpPr txBox="1">
            <a:spLocks/>
          </p:cNvSpPr>
          <p:nvPr/>
        </p:nvSpPr>
        <p:spPr>
          <a:xfrm>
            <a:off x="210312" y="201168"/>
            <a:ext cx="6210586" cy="71323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378"/>
            <a:r>
              <a:rPr lang="en-US" sz="28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takeaways</a:t>
            </a:r>
            <a:endParaRPr lang="en-US" kern="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85966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tending business automation with RPA demo</a:t>
            </a:r>
          </a:p>
          <a:p>
            <a:pPr defTabSz="914378"/>
            <a:endParaRPr lang="en-US" kern="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378"/>
            <a:br>
              <a:rPr lang="en-US" sz="16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307D3C8-27A5-DFC9-6668-AF432A6449C6}"/>
              </a:ext>
            </a:extLst>
          </p:cNvPr>
          <p:cNvSpPr/>
          <p:nvPr/>
        </p:nvSpPr>
        <p:spPr>
          <a:xfrm>
            <a:off x="329581" y="1119696"/>
            <a:ext cx="7434074" cy="3393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892" indent="-274313" defTabSz="685966">
              <a:lnSpc>
                <a:spcPct val="90000"/>
              </a:lnSpc>
              <a:spcAft>
                <a:spcPts val="600"/>
              </a:spcAft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rgbClr val="E5F6FF">
                    <a:lumMod val="9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ing business automation with RPA</a:t>
            </a: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marL="800080" lvl="1" indent="-227007" defTabSz="685966">
              <a:lnSpc>
                <a:spcPct val="90000"/>
              </a:lnSpc>
              <a:spcAft>
                <a:spcPts val="300"/>
              </a:spcAft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a quick way to automate manual tasks</a:t>
            </a:r>
          </a:p>
          <a:p>
            <a:pPr marL="800080" lvl="1" indent="-227007" defTabSz="685966">
              <a:lnSpc>
                <a:spcPct val="90000"/>
              </a:lnSpc>
              <a:spcAft>
                <a:spcPts val="300"/>
              </a:spcAft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s automation when APIs are not available</a:t>
            </a:r>
          </a:p>
          <a:p>
            <a:pPr marL="800080" lvl="1" indent="-227007" defTabSz="685966">
              <a:lnSpc>
                <a:spcPct val="90000"/>
              </a:lnSpc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s back-office work</a:t>
            </a:r>
          </a:p>
          <a:p>
            <a:pPr marL="342892" indent="-274313" defTabSz="685966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rgbClr val="E5F6FF">
                    <a:lumMod val="9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user-friendly </a:t>
            </a: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oling...</a:t>
            </a:r>
            <a:endParaRPr lang="en-US" sz="1500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080" lvl="1" indent="-227007" defTabSz="685966">
              <a:lnSpc>
                <a:spcPct val="90000"/>
              </a:lnSpc>
              <a:spcAft>
                <a:spcPts val="300"/>
              </a:spcAft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s drag and drop low-code development</a:t>
            </a:r>
          </a:p>
          <a:p>
            <a:pPr marL="800080" lvl="1" indent="-227007" defTabSz="685966">
              <a:lnSpc>
                <a:spcPct val="90000"/>
              </a:lnSpc>
              <a:spcAft>
                <a:spcPts val="300"/>
              </a:spcAft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s hundreds of prebuilt commands</a:t>
            </a:r>
          </a:p>
          <a:p>
            <a:pPr marL="800080" lvl="1" indent="-227007" defTabSz="685966">
              <a:lnSpc>
                <a:spcPct val="90000"/>
              </a:lnSpc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s the same tools to build both bots and chatbots</a:t>
            </a:r>
          </a:p>
          <a:p>
            <a:pPr marL="342892" indent="-274313" defTabSz="685966">
              <a:lnSpc>
                <a:spcPct val="90000"/>
              </a:lnSpc>
              <a:spcBef>
                <a:spcPts val="1200"/>
              </a:spcBef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rgbClr val="E5F6FF">
                    <a:lumMod val="9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PA enables new ways of doing business,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out requiring extensive development.</a:t>
            </a:r>
          </a:p>
          <a:p>
            <a:pPr marL="342892" indent="-274313" defTabSz="685966">
              <a:lnSpc>
                <a:spcPct val="90000"/>
              </a:lnSpc>
              <a:spcBef>
                <a:spcPts val="1200"/>
              </a:spcBef>
              <a:buClr>
                <a:srgbClr val="E5F6FF">
                  <a:lumMod val="90000"/>
                </a:srgb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rgbClr val="E5F6FF">
                    <a:lumMod val="9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low provides an end-to-end framework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incrementally automating human tasks over time.</a:t>
            </a:r>
          </a:p>
        </p:txBody>
      </p:sp>
    </p:spTree>
    <p:extLst>
      <p:ext uri="{BB962C8B-B14F-4D97-AF65-F5344CB8AC3E}">
        <p14:creationId xmlns:p14="http://schemas.microsoft.com/office/powerpoint/2010/main" val="35281843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71AE79E-88B6-4B49-8950-048F1C068E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214" r="21215"/>
          <a:stretch/>
        </p:blipFill>
        <p:spPr>
          <a:xfrm>
            <a:off x="3897549" y="1793421"/>
            <a:ext cx="1348902" cy="155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766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AA054FF1-23FC-C229-E1AA-531D33F8075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8" name="Picture 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89C7EE1D-98AA-3489-05DF-5645071DC89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learning 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56A7D-53F2-214F-871C-1EB579B9B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66" y="911259"/>
            <a:ext cx="8695877" cy="3320982"/>
          </a:xfrm>
        </p:spPr>
        <p:txBody>
          <a:bodyPr/>
          <a:lstStyle/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uilding process applications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rticipating in processes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sing robotic process automation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PA command reference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2024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7463012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3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16827</TotalTime>
  <Words>581</Words>
  <Application>Microsoft Macintosh PowerPoint</Application>
  <PresentationFormat>On-screen Show (16:9)</PresentationFormat>
  <Paragraphs>104</Paragraphs>
  <Slides>9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Calibri</vt:lpstr>
      <vt:lpstr>IBM Plex Sans</vt:lpstr>
      <vt:lpstr>Arial</vt:lpstr>
      <vt:lpstr>IBM Plex Sans Light</vt:lpstr>
      <vt:lpstr>IBM Brand Template 2022</vt:lpstr>
      <vt:lpstr>PowerPoint Presentation</vt:lpstr>
      <vt:lpstr>Demo overview</vt:lpstr>
      <vt:lpstr>Demo overview</vt:lpstr>
      <vt:lpstr>Demo flow</vt:lpstr>
      <vt:lpstr>Demo components </vt:lpstr>
      <vt:lpstr>PowerPoint Presentation</vt:lpstr>
      <vt:lpstr>PowerPoint Presentation</vt:lpstr>
      <vt:lpstr>PowerPoint Presentation</vt:lpstr>
      <vt:lpstr>Additional learning resourc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IBM Presentation Template — IBM Plex® variant</dc:title>
  <dc:subject/>
  <dc:creator>Dennis Woo</dc:creator>
  <cp:keywords/>
  <dc:description/>
  <cp:lastModifiedBy>Thomas J Yang</cp:lastModifiedBy>
  <cp:revision>86</cp:revision>
  <cp:lastPrinted>2019-04-25T15:14:05Z</cp:lastPrinted>
  <dcterms:created xsi:type="dcterms:W3CDTF">2022-03-29T18:01:34Z</dcterms:created>
  <dcterms:modified xsi:type="dcterms:W3CDTF">2024-06-25T22:39:17Z</dcterms:modified>
  <cp:category/>
</cp:coreProperties>
</file>